
<file path=[Content_Types].xml><?xml version="1.0" encoding="utf-8"?>
<Types xmlns="http://schemas.openxmlformats.org/package/2006/content-types">
  <Default Extension="avi" ContentType="video/x-msvideo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257" r:id="rId3"/>
    <p:sldId id="263" r:id="rId4"/>
    <p:sldId id="264" r:id="rId5"/>
    <p:sldId id="265" r:id="rId6"/>
    <p:sldId id="266" r:id="rId7"/>
    <p:sldId id="267" r:id="rId8"/>
    <p:sldId id="269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1910" autoAdjust="0"/>
  </p:normalViewPr>
  <p:slideViewPr>
    <p:cSldViewPr snapToGrid="0">
      <p:cViewPr varScale="1">
        <p:scale>
          <a:sx n="128" d="100"/>
          <a:sy n="128" d="100"/>
        </p:scale>
        <p:origin x="158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359800-BA3E-4937-ACD9-3EA5B3ABC783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3A7DFC-5F9B-40DD-9F04-67325EFC90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846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A7DFC-5F9B-40DD-9F04-67325EFC905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030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A7DFC-5F9B-40DD-9F04-67325EFC905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3934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A7DFC-5F9B-40DD-9F04-67325EFC905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537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A7DFC-5F9B-40DD-9F04-67325EFC905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293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A7DFC-5F9B-40DD-9F04-67325EFC905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854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A7DFC-5F9B-40DD-9F04-67325EFC905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9295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3A7DFC-5F9B-40DD-9F04-67325EFC905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338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9F5A0-7C71-F3A4-C04D-3B8AECC22B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E93DF4-F877-10AA-1162-8BA7F87DC2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AC0111-70E0-8AD1-B48E-8102A0470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A6EB8A-0A05-2F96-22F8-8FCCD0C7ED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40F511-453D-79C8-AB8A-C9A327B09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14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F9B94-12DB-7054-1A57-AC20CB023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B7D45AE-F35F-4F14-1050-53C06506A9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B9FCE1-AAE1-33EF-85C2-5CF78C780E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FAC5B2-B719-C792-7A4E-4A7656E369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841FF-68AD-6954-3699-64912E9EE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003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5AE0D9B-B4F2-E3E1-15FD-00DC836011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DD7E01-E538-5A90-4CBD-8DB8752B8E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D7613E-D7B9-4F24-D7DF-41DD58444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71996-7B3D-1453-3476-D6310E924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2ABDC7-CAEA-A0E3-20CE-792D0EA80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8954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C8407-4196-8E02-D4F9-F33E30908C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4547F6-F0B8-77D3-3A35-E5A9F78E68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59E92D-F2F3-53EB-10C6-F74E65EBDA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C181A6-4162-C0AC-36A6-FC0FD6167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FA7AF3-BA9E-1223-BC71-CED4AFEE0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9447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0A012B-D728-2689-EF93-0B6888AE3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D0EFA5-4028-1FC8-FDD5-88D633153A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3DC43D-2D2F-40A9-05E0-CC03FE310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50ED01-5EBB-20C0-0869-F083D97FCC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8DF72D-54B6-BBB1-3793-1103B41D9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431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AA5B2-8C67-C582-48A8-A8C7860DC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6493E0-6DBC-3663-496F-1BD14AC64A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7C6205-D705-ED7D-0D54-4892A8B6F5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6D9E96-227A-C103-8089-172810A7E4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3FF1B3-8A84-91A3-D38E-778F0495E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5E2B18-D3B9-26CC-874A-B322F73E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6102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2306B-656C-BEBA-64A6-D947FAA1BA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8DFC0B-4CEE-5F38-756E-83C5B8533B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1993F1-A6F1-1285-16C0-FD513BF931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A50A92-DC57-F6E6-0723-A813F6DBDD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216BBFB-3BBC-D6F0-3654-3816A486BE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9D9730-07B0-74F8-BFAC-2E22D5284E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92B90F-71C3-73AC-8EC8-897F86A133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C7C9B4-6442-FC49-2F86-5A3439416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622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EE7ED-E9B5-7F9E-CBAB-4B33E625A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123DBD-0A50-82A8-BEF3-BB9FA9F75E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F7FF0D-A141-D907-2CD9-08B3BEA25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9935D8-9C5B-BFA1-1B89-08AE43A86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99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50B7FD-0C1E-DD3E-D707-803272CC0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361216-BC4B-AFB9-3C45-0F181837ED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85F91-B1EF-7171-72B5-655DF4464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417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7813B-2DC5-2BB9-A1B5-CC99F7151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2B75BD-9215-F9AA-3202-DCB09FC2DA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D32660-B70F-7928-2876-04EDA3A5FA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65840D-C690-3B04-726C-9648B2200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8FD408-AD1D-0C2D-43F7-3C40AC43F7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84C2B9-3EF3-8FC6-F2CF-8CBE39695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8719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DA214E-A37C-F17C-4531-A4F2980FD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751D05-591D-25F3-2B12-761EF0112B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5590EA-EC84-73F2-7C98-34D63B6C58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1962DB-377E-64AD-15FC-C0BA7B924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EF5072-113A-BE06-C76D-2801B68C7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03E62F-DE4A-B89E-17E0-96ADDC50E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6601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43456A-CD49-C238-9181-748F522ED2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EEDDC-16FB-CE81-FF6F-619FD7807F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F0D5C5-7309-F887-BC98-73589AF98D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528C25-D860-41C4-A89A-84EC7A69607D}" type="datetimeFigureOut">
              <a:rPr lang="en-US" smtClean="0"/>
              <a:t>2/1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7582D8-4A70-44DC-A704-3CCB573894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83A73D-8987-3D8D-02D7-A7A58C5DF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5910B2-6156-4C1B-AD17-095577F843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066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avi"/><Relationship Id="rId1" Type="http://schemas.microsoft.com/office/2007/relationships/media" Target="../media/media1.avi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video" Target="../media/media3.mp4"/><Relationship Id="rId7" Type="http://schemas.openxmlformats.org/officeDocument/2006/relationships/image" Target="../media/image8.png"/><Relationship Id="rId2" Type="http://schemas.microsoft.com/office/2007/relationships/media" Target="../media/media3.mp4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06384-3D57-8E8D-D2A3-F16D1E3A86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5499" y="180908"/>
            <a:ext cx="9144000" cy="2387600"/>
          </a:xfrm>
        </p:spPr>
        <p:txBody>
          <a:bodyPr>
            <a:normAutofit/>
          </a:bodyPr>
          <a:lstStyle/>
          <a:p>
            <a:r>
              <a:rPr lang="en-US" sz="4000" b="1" u="sng" dirty="0" err="1">
                <a:solidFill>
                  <a:srgbClr val="FF0000"/>
                </a:solidFill>
                <a:latin typeface="Amasis MT Pro Light" panose="020B0604020202020204" pitchFamily="18" charset="0"/>
                <a:cs typeface="72 Monospace" panose="020B0509030603020204" pitchFamily="49" charset="0"/>
              </a:rPr>
              <a:t>CoT</a:t>
            </a:r>
            <a:r>
              <a:rPr lang="en-US" sz="4000" b="1" u="sng" dirty="0">
                <a:solidFill>
                  <a:srgbClr val="FF0000"/>
                </a:solidFill>
                <a:latin typeface="Amasis MT Pro Light" panose="020B0604020202020204" pitchFamily="18" charset="0"/>
                <a:cs typeface="72 Monospace" panose="020B0509030603020204" pitchFamily="49" charset="0"/>
              </a:rPr>
              <a:t>-TL</a:t>
            </a:r>
            <a:r>
              <a:rPr lang="en-US" sz="3500" b="1" dirty="0">
                <a:solidFill>
                  <a:srgbClr val="FF0000"/>
                </a:solidFill>
                <a:latin typeface="Amasis MT Pro Light" panose="020B0604020202020204" pitchFamily="18" charset="0"/>
                <a:cs typeface="72 Monospace" panose="020B0509030603020204" pitchFamily="49" charset="0"/>
              </a:rPr>
              <a:t>: </a:t>
            </a:r>
            <a:r>
              <a:rPr lang="en-US" sz="3500" dirty="0">
                <a:latin typeface="Amasis MT Pro Light" panose="020B0604020202020204" pitchFamily="18" charset="0"/>
                <a:cs typeface="72 Monospace" panose="020B0509030603020204" pitchFamily="49" charset="0"/>
              </a:rPr>
              <a:t>Low Resource Temporal Knowledge Representation of Planning Instructions using </a:t>
            </a:r>
            <a:r>
              <a:rPr lang="en-US" sz="3500" i="1" dirty="0">
                <a:latin typeface="Amasis MT Pro Light" panose="020B0604020202020204" pitchFamily="18" charset="0"/>
                <a:cs typeface="72 Monospace" panose="020B0509030603020204" pitchFamily="49" charset="0"/>
              </a:rPr>
              <a:t>Chain-Of-Thought</a:t>
            </a:r>
            <a:r>
              <a:rPr lang="en-US" sz="3500" dirty="0">
                <a:latin typeface="Amasis MT Pro Light" panose="020B0604020202020204" pitchFamily="18" charset="0"/>
                <a:cs typeface="72 Monospace" panose="020B0509030603020204" pitchFamily="49" charset="0"/>
              </a:rPr>
              <a:t> Reaso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649DFE-00B0-AE1A-5241-7EC3FFC77B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83200" y="3684333"/>
            <a:ext cx="9144000" cy="3173667"/>
          </a:xfrm>
        </p:spPr>
        <p:txBody>
          <a:bodyPr>
            <a:normAutofit fontScale="70000" lnSpcReduction="20000"/>
          </a:bodyPr>
          <a:lstStyle/>
          <a:p>
            <a:pPr algn="r"/>
            <a:r>
              <a:rPr lang="de-DE" dirty="0"/>
              <a:t>- Kumar Manas</a:t>
            </a:r>
            <a:r>
              <a:rPr lang="de-DE" baseline="30000" dirty="0"/>
              <a:t>1,2</a:t>
            </a:r>
          </a:p>
          <a:p>
            <a:pPr algn="r"/>
            <a:r>
              <a:rPr lang="de-DE" dirty="0"/>
              <a:t>- Stefan Zwicklbauer</a:t>
            </a:r>
            <a:r>
              <a:rPr lang="de-DE" baseline="30000" dirty="0"/>
              <a:t>2</a:t>
            </a:r>
          </a:p>
          <a:p>
            <a:pPr algn="r"/>
            <a:r>
              <a:rPr lang="de-DE" dirty="0"/>
              <a:t>- Adrian Paschke</a:t>
            </a:r>
            <a:r>
              <a:rPr lang="de-DE" baseline="30000" dirty="0"/>
              <a:t>1</a:t>
            </a:r>
          </a:p>
          <a:p>
            <a:pPr algn="r"/>
            <a:endParaRPr lang="de-DE" baseline="30000" dirty="0"/>
          </a:p>
          <a:p>
            <a:pPr algn="r"/>
            <a:endParaRPr lang="de-DE" baseline="30000" dirty="0"/>
          </a:p>
          <a:p>
            <a:pPr algn="l"/>
            <a:endParaRPr lang="de-DE" baseline="30000" dirty="0"/>
          </a:p>
          <a:p>
            <a:pPr algn="l"/>
            <a:endParaRPr lang="de-DE" baseline="30000" dirty="0"/>
          </a:p>
          <a:p>
            <a:pPr algn="l"/>
            <a:endParaRPr lang="de-DE" baseline="30000" dirty="0"/>
          </a:p>
          <a:p>
            <a:pPr algn="l"/>
            <a:endParaRPr lang="de-DE" baseline="30000" dirty="0"/>
          </a:p>
          <a:p>
            <a:pPr algn="l"/>
            <a:endParaRPr lang="de-DE" baseline="30000" dirty="0"/>
          </a:p>
          <a:p>
            <a:pPr algn="l"/>
            <a:r>
              <a:rPr lang="de-DE" baseline="30000" dirty="0"/>
              <a:t>[1] Freie </a:t>
            </a:r>
            <a:r>
              <a:rPr lang="de-DE" baseline="30000" dirty="0" err="1"/>
              <a:t>Universitat</a:t>
            </a:r>
            <a:r>
              <a:rPr lang="de-DE" baseline="30000" dirty="0"/>
              <a:t> Berlin, Germany</a:t>
            </a:r>
          </a:p>
          <a:p>
            <a:pPr algn="l"/>
            <a:r>
              <a:rPr lang="en-US" baseline="30000" dirty="0"/>
              <a:t>[2] Continental AG, Germany</a:t>
            </a:r>
          </a:p>
        </p:txBody>
      </p:sp>
      <p:pic>
        <p:nvPicPr>
          <p:cNvPr id="6" name="animation">
            <a:hlinkClick r:id="" action="ppaction://media"/>
            <a:extLst>
              <a:ext uri="{FF2B5EF4-FFF2-40B4-BE49-F238E27FC236}">
                <a16:creationId xmlns:a16="http://schemas.microsoft.com/office/drawing/2014/main" id="{450BAB05-E12B-72DC-0EE3-8848515E5A6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28800" y="3074454"/>
            <a:ext cx="2995200" cy="22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45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490"/>
    </mc:Choice>
    <mc:Fallback xmlns="">
      <p:transition spd="slow" advTm="949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83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  <p:extLst>
    <p:ext uri="{E180D4A7-C9FB-4DFB-919C-405C955672EB}">
      <p14:showEvtLst xmlns:p14="http://schemas.microsoft.com/office/powerpoint/2010/main">
        <p14:playEvt time="1712" objId="7"/>
        <p14:playEvt time="5077" objId="6"/>
        <p14:stopEvt time="8664" objId="7"/>
        <p14:stopEvt time="9490" objId="6"/>
      </p14:showEvtLst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E73F9E-AEF3-DAEA-56E2-336555F90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T-TL: Natural Language to LTL</a:t>
            </a:r>
          </a:p>
        </p:txBody>
      </p:sp>
      <p:pic>
        <p:nvPicPr>
          <p:cNvPr id="23" name="Content Placeholder 22" descr="A diagram of a software model&#10;&#10;Description automatically generated">
            <a:extLst>
              <a:ext uri="{FF2B5EF4-FFF2-40B4-BE49-F238E27FC236}">
                <a16:creationId xmlns:a16="http://schemas.microsoft.com/office/drawing/2014/main" id="{BE7B73E9-37F8-CC03-F709-47A08A4A1A0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67" y="1977571"/>
            <a:ext cx="10905066" cy="3789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19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91"/>
    </mc:Choice>
    <mc:Fallback xmlns="">
      <p:transition spd="slow" advTm="219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E73F9E-AEF3-DAEA-56E2-336555F90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b="1" kern="1200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T</a:t>
            </a:r>
            <a:r>
              <a: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-TL: Natural Language to Text</a:t>
            </a:r>
          </a:p>
        </p:txBody>
      </p:sp>
      <p:pic>
        <p:nvPicPr>
          <p:cNvPr id="5" name="Content Placeholder 4" descr="A black and white diagram&#10;&#10;Description automatically generated">
            <a:extLst>
              <a:ext uri="{FF2B5EF4-FFF2-40B4-BE49-F238E27FC236}">
                <a16:creationId xmlns:a16="http://schemas.microsoft.com/office/drawing/2014/main" id="{315748EF-F53D-AF69-4BA5-146DB5EFA8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864" y="2601119"/>
            <a:ext cx="6422414" cy="1349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73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E73F9E-AEF3-DAEA-56E2-336555F90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b="1" kern="1200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T</a:t>
            </a:r>
            <a:r>
              <a: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-TL: Natural Language Text to LTL</a:t>
            </a:r>
          </a:p>
        </p:txBody>
      </p:sp>
      <p:pic>
        <p:nvPicPr>
          <p:cNvPr id="3" name="Content Placeholder 10" descr="A close-up of a white square&#10;&#10;Description automatically generated">
            <a:extLst>
              <a:ext uri="{FF2B5EF4-FFF2-40B4-BE49-F238E27FC236}">
                <a16:creationId xmlns:a16="http://schemas.microsoft.com/office/drawing/2014/main" id="{2B776878-6FB4-C49A-909A-071015FEB2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552" y="3008014"/>
            <a:ext cx="9213546" cy="1613371"/>
          </a:xfrm>
        </p:spPr>
      </p:pic>
    </p:spTree>
    <p:extLst>
      <p:ext uri="{BB962C8B-B14F-4D97-AF65-F5344CB8AC3E}">
        <p14:creationId xmlns:p14="http://schemas.microsoft.com/office/powerpoint/2010/main" val="2532585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E73F9E-AEF3-DAEA-56E2-336555F90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b="1" kern="1200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T</a:t>
            </a:r>
            <a:r>
              <a: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-TL: Natural Language Text to LTL</a:t>
            </a:r>
          </a:p>
        </p:txBody>
      </p:sp>
      <p:pic>
        <p:nvPicPr>
          <p:cNvPr id="6" name="Content Placeholder 5" descr="A close-up of a diagram&#10;&#10;Description automatically generated">
            <a:extLst>
              <a:ext uri="{FF2B5EF4-FFF2-40B4-BE49-F238E27FC236}">
                <a16:creationId xmlns:a16="http://schemas.microsoft.com/office/drawing/2014/main" id="{2FCB36A9-8A97-2C49-6814-C1E2C4C06C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487" y="3117349"/>
            <a:ext cx="9991013" cy="1325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8641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E73F9E-AEF3-DAEA-56E2-336555F90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54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Demo: Interpretable LTL &amp; Simulation </a:t>
            </a:r>
          </a:p>
        </p:txBody>
      </p:sp>
    </p:spTree>
    <p:extLst>
      <p:ext uri="{BB962C8B-B14F-4D97-AF65-F5344CB8AC3E}">
        <p14:creationId xmlns:p14="http://schemas.microsoft.com/office/powerpoint/2010/main" val="3535115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0B761509-3B9A-49A6-A84B-C3D8681169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12191997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1DE43FD-EB47-414A-B0AB-169B0FFFA5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272922" cy="6858000"/>
          </a:xfrm>
          <a:custGeom>
            <a:avLst/>
            <a:gdLst>
              <a:gd name="connsiteX0" fmla="*/ 0 w 9272922"/>
              <a:gd name="connsiteY0" fmla="*/ 0 h 6858000"/>
              <a:gd name="connsiteX1" fmla="*/ 1733417 w 9272922"/>
              <a:gd name="connsiteY1" fmla="*/ 0 h 6858000"/>
              <a:gd name="connsiteX2" fmla="*/ 3307976 w 9272922"/>
              <a:gd name="connsiteY2" fmla="*/ 0 h 6858000"/>
              <a:gd name="connsiteX3" fmla="*/ 8126249 w 9272922"/>
              <a:gd name="connsiteY3" fmla="*/ 0 h 6858000"/>
              <a:gd name="connsiteX4" fmla="*/ 8138896 w 9272922"/>
              <a:gd name="connsiteY4" fmla="*/ 31774 h 6858000"/>
              <a:gd name="connsiteX5" fmla="*/ 9193904 w 9272922"/>
              <a:gd name="connsiteY5" fmla="*/ 2682457 h 6858000"/>
              <a:gd name="connsiteX6" fmla="*/ 9193904 w 9272922"/>
              <a:gd name="connsiteY6" fmla="*/ 3752208 h 6858000"/>
              <a:gd name="connsiteX7" fmla="*/ 8036400 w 9272922"/>
              <a:gd name="connsiteY7" fmla="*/ 6660411 h 6858000"/>
              <a:gd name="connsiteX8" fmla="*/ 7957938 w 9272922"/>
              <a:gd name="connsiteY8" fmla="*/ 6857542 h 6858000"/>
              <a:gd name="connsiteX9" fmla="*/ 3307976 w 9272922"/>
              <a:gd name="connsiteY9" fmla="*/ 6857542 h 6858000"/>
              <a:gd name="connsiteX10" fmla="*/ 3307976 w 9272922"/>
              <a:gd name="connsiteY10" fmla="*/ 6858000 h 6858000"/>
              <a:gd name="connsiteX11" fmla="*/ 0 w 9272922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272922" h="6858000">
                <a:moveTo>
                  <a:pt x="0" y="0"/>
                </a:moveTo>
                <a:lnTo>
                  <a:pt x="1733417" y="0"/>
                </a:lnTo>
                <a:lnTo>
                  <a:pt x="3307976" y="0"/>
                </a:lnTo>
                <a:lnTo>
                  <a:pt x="8126249" y="0"/>
                </a:lnTo>
                <a:lnTo>
                  <a:pt x="8138896" y="31774"/>
                </a:lnTo>
                <a:cubicBezTo>
                  <a:pt x="9193904" y="2682457"/>
                  <a:pt x="9193904" y="2682457"/>
                  <a:pt x="9193904" y="2682457"/>
                </a:cubicBezTo>
                <a:cubicBezTo>
                  <a:pt x="9299262" y="2988100"/>
                  <a:pt x="9299262" y="3446565"/>
                  <a:pt x="9193904" y="3752208"/>
                </a:cubicBezTo>
                <a:cubicBezTo>
                  <a:pt x="8709916" y="4968215"/>
                  <a:pt x="8331802" y="5918220"/>
                  <a:pt x="8036400" y="6660411"/>
                </a:cubicBezTo>
                <a:lnTo>
                  <a:pt x="7957938" y="6857542"/>
                </a:lnTo>
                <a:lnTo>
                  <a:pt x="3307976" y="6857542"/>
                </a:lnTo>
                <a:lnTo>
                  <a:pt x="33079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18 (online-video-cutter.com)">
            <a:hlinkClick r:id="" action="ppaction://media"/>
            <a:extLst>
              <a:ext uri="{FF2B5EF4-FFF2-40B4-BE49-F238E27FC236}">
                <a16:creationId xmlns:a16="http://schemas.microsoft.com/office/drawing/2014/main" id="{91A231C3-AA90-9105-48F7-9714E5CCF50C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49606" y="0"/>
            <a:ext cx="8814880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3706AFB-4AF0-430C-8FBE-C38C0F839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160561" y="1075188"/>
            <a:ext cx="1562267" cy="1172973"/>
            <a:chOff x="9160561" y="1000124"/>
            <a:chExt cx="1562267" cy="1172973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8AC53B5C-1F4B-4D51-ADA0-F74EBA6A51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9160561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3BBF50A-9667-4DFA-9066-13B535B573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9960661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04091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5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73F9E-AEF3-DAEA-56E2-336555F90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54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Demo: Interpretable LTL &amp; Simulation 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6736E48E-4F0A-B499-89F3-8CE0714555C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034143"/>
            <a:ext cx="4506686" cy="5142820"/>
          </a:xfr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1D93C89-F227-2F1B-CE9C-22276E46EA82}"/>
              </a:ext>
            </a:extLst>
          </p:cNvPr>
          <p:cNvSpPr txBox="1"/>
          <p:nvPr/>
        </p:nvSpPr>
        <p:spPr>
          <a:xfrm>
            <a:off x="4506687" y="273853"/>
            <a:ext cx="5878286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  <a:latin typeface="Amasis MT Pro Light" panose="02040304050005020304" pitchFamily="18" charset="0"/>
              </a:rPr>
              <a:t>Even if a few shot prompts have </a:t>
            </a:r>
            <a:r>
              <a:rPr lang="en-US" b="1" dirty="0">
                <a:solidFill>
                  <a:srgbClr val="FF0000"/>
                </a:solidFill>
                <a:latin typeface="Amasis MT Pro Light" panose="02040304050005020304" pitchFamily="18" charset="0"/>
              </a:rPr>
              <a:t>two-step navigation</a:t>
            </a:r>
            <a:r>
              <a:rPr lang="en-US" b="1" dirty="0">
                <a:solidFill>
                  <a:srgbClr val="00B050"/>
                </a:solidFill>
                <a:latin typeface="Amasis MT Pro Light" panose="02040304050005020304" pitchFamily="18" charset="0"/>
              </a:rPr>
              <a:t>, COT-TL is successful in new situations having </a:t>
            </a:r>
            <a:r>
              <a:rPr lang="en-US" b="1" u="sng" dirty="0">
                <a:solidFill>
                  <a:srgbClr val="FF0000"/>
                </a:solidFill>
                <a:latin typeface="Amasis MT Pro Light" panose="02040304050005020304" pitchFamily="18" charset="0"/>
              </a:rPr>
              <a:t>3 step navigation </a:t>
            </a:r>
            <a:r>
              <a:rPr lang="en-US" b="1" dirty="0">
                <a:solidFill>
                  <a:srgbClr val="00B050"/>
                </a:solidFill>
                <a:latin typeface="Amasis MT Pro Light" panose="02040304050005020304" pitchFamily="18" charset="0"/>
              </a:rPr>
              <a:t>LTL formula creation!! </a:t>
            </a:r>
            <a:r>
              <a:rPr lang="en-US" sz="2000" b="1" dirty="0">
                <a:solidFill>
                  <a:srgbClr val="0070C0"/>
                </a:solidFill>
                <a:latin typeface="Amasis MT Pro Light" panose="02040304050005020304" pitchFamily="18" charset="0"/>
              </a:rPr>
              <a:t>Generalization</a:t>
            </a:r>
            <a:r>
              <a:rPr lang="en-US" b="1" dirty="0">
                <a:solidFill>
                  <a:srgbClr val="00B050"/>
                </a:solidFill>
                <a:latin typeface="Amasis MT Pro Light" panose="02040304050005020304" pitchFamily="18" charset="0"/>
              </a:rPr>
              <a:t> !!</a:t>
            </a:r>
          </a:p>
          <a:p>
            <a:endParaRPr lang="en-US" b="1" dirty="0">
              <a:solidFill>
                <a:srgbClr val="00B050"/>
              </a:solidFill>
              <a:latin typeface="Amasis MT Pro Light" panose="02040304050005020304" pitchFamily="18" charset="0"/>
            </a:endParaRPr>
          </a:p>
          <a:p>
            <a:r>
              <a:rPr lang="en-US" b="1" dirty="0"/>
              <a:t>F (red_room &amp; F (yellow_room &amp; F (</a:t>
            </a:r>
            <a:r>
              <a:rPr lang="en-US" b="1" dirty="0" err="1"/>
              <a:t>green_room</a:t>
            </a:r>
            <a:r>
              <a:rPr lang="en-US" b="1" dirty="0"/>
              <a:t> ))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0A0371-22AF-BEE8-FD50-5D6F6779F845}"/>
              </a:ext>
            </a:extLst>
          </p:cNvPr>
          <p:cNvSpPr txBox="1"/>
          <p:nvPr/>
        </p:nvSpPr>
        <p:spPr>
          <a:xfrm>
            <a:off x="544287" y="6308209"/>
            <a:ext cx="44525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/>
              <a:t>Annotated</a:t>
            </a:r>
            <a:r>
              <a:rPr lang="de-DE" b="1" dirty="0"/>
              <a:t> View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Drone</a:t>
            </a:r>
            <a:r>
              <a:rPr lang="de-DE" b="1" dirty="0"/>
              <a:t> </a:t>
            </a:r>
            <a:r>
              <a:rPr lang="de-DE" b="1" dirty="0" err="1"/>
              <a:t>Planning</a:t>
            </a:r>
            <a:r>
              <a:rPr lang="de-DE" b="1" dirty="0"/>
              <a:t> route </a:t>
            </a:r>
            <a:endParaRPr lang="en-US" b="1" dirty="0"/>
          </a:p>
        </p:txBody>
      </p:sp>
      <p:sp>
        <p:nvSpPr>
          <p:cNvPr id="3" name="Arrow: Up 2">
            <a:extLst>
              <a:ext uri="{FF2B5EF4-FFF2-40B4-BE49-F238E27FC236}">
                <a16:creationId xmlns:a16="http://schemas.microsoft.com/office/drawing/2014/main" id="{0DE266A8-EF37-FF88-CA8E-75CB144B8804}"/>
              </a:ext>
            </a:extLst>
          </p:cNvPr>
          <p:cNvSpPr/>
          <p:nvPr/>
        </p:nvSpPr>
        <p:spPr>
          <a:xfrm>
            <a:off x="5234400" y="1781958"/>
            <a:ext cx="237600" cy="36460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297A3A1-A9E8-5BDF-E16C-C8BFF2661EDF}"/>
              </a:ext>
            </a:extLst>
          </p:cNvPr>
          <p:cNvSpPr txBox="1"/>
          <p:nvPr/>
        </p:nvSpPr>
        <p:spPr>
          <a:xfrm>
            <a:off x="4925313" y="2051418"/>
            <a:ext cx="50138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1st </a:t>
            </a:r>
            <a:r>
              <a:rPr lang="de-DE" dirty="0" err="1"/>
              <a:t>step</a:t>
            </a:r>
            <a:r>
              <a:rPr lang="de-DE" dirty="0"/>
              <a:t>                    2nd </a:t>
            </a:r>
            <a:r>
              <a:rPr lang="de-DE" dirty="0" err="1"/>
              <a:t>Step</a:t>
            </a:r>
            <a:r>
              <a:rPr lang="de-DE" dirty="0"/>
              <a:t>          3rd </a:t>
            </a:r>
            <a:r>
              <a:rPr lang="de-DE" dirty="0" err="1"/>
              <a:t>step</a:t>
            </a:r>
            <a:r>
              <a:rPr lang="de-DE" dirty="0"/>
              <a:t>               8</a:t>
            </a:r>
            <a:endParaRPr lang="en-US" dirty="0"/>
          </a:p>
        </p:txBody>
      </p:sp>
      <p:sp>
        <p:nvSpPr>
          <p:cNvPr id="6" name="Arrow: Up 5">
            <a:extLst>
              <a:ext uri="{FF2B5EF4-FFF2-40B4-BE49-F238E27FC236}">
                <a16:creationId xmlns:a16="http://schemas.microsoft.com/office/drawing/2014/main" id="{BBFDB26D-C259-01FC-F28E-C3EC171DD9F3}"/>
              </a:ext>
            </a:extLst>
          </p:cNvPr>
          <p:cNvSpPr/>
          <p:nvPr/>
        </p:nvSpPr>
        <p:spPr>
          <a:xfrm>
            <a:off x="6844373" y="1781957"/>
            <a:ext cx="237600" cy="36460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row: Up 6">
            <a:extLst>
              <a:ext uri="{FF2B5EF4-FFF2-40B4-BE49-F238E27FC236}">
                <a16:creationId xmlns:a16="http://schemas.microsoft.com/office/drawing/2014/main" id="{4A4644F3-4C70-52BC-6C2A-80F7DF4739AA}"/>
              </a:ext>
            </a:extLst>
          </p:cNvPr>
          <p:cNvSpPr/>
          <p:nvPr/>
        </p:nvSpPr>
        <p:spPr>
          <a:xfrm>
            <a:off x="8509886" y="1781957"/>
            <a:ext cx="237600" cy="36460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animation_4x">
            <a:hlinkClick r:id="" action="ppaction://media"/>
            <a:extLst>
              <a:ext uri="{FF2B5EF4-FFF2-40B4-BE49-F238E27FC236}">
                <a16:creationId xmlns:a16="http://schemas.microsoft.com/office/drawing/2014/main" id="{FB39F436-7117-EE89-0B1B-A1E44DAB3109}"/>
              </a:ext>
            </a:extLst>
          </p:cNvPr>
          <p:cNvPicPr>
            <a:picLocks noGrp="1" noChangeAspect="1"/>
          </p:cNvPicPr>
          <p:nvPr>
            <p:ph sz="half" idx="2"/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309000" y="2606675"/>
            <a:ext cx="5181600" cy="3886200"/>
          </a:xfr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8CB2C12-4F0A-EBF1-02D4-988B09BF302C}"/>
              </a:ext>
            </a:extLst>
          </p:cNvPr>
          <p:cNvSpPr txBox="1"/>
          <p:nvPr/>
        </p:nvSpPr>
        <p:spPr>
          <a:xfrm>
            <a:off x="10460608" y="3918541"/>
            <a:ext cx="17863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dirty="0">
                <a:solidFill>
                  <a:srgbClr val="0070C0"/>
                </a:solidFill>
              </a:rPr>
              <a:t>4X </a:t>
            </a:r>
            <a:r>
              <a:rPr lang="de-DE" sz="3200" dirty="0" err="1">
                <a:solidFill>
                  <a:srgbClr val="0070C0"/>
                </a:solidFill>
              </a:rPr>
              <a:t>speed</a:t>
            </a:r>
            <a:endParaRPr lang="en-US" sz="3200" dirty="0">
              <a:solidFill>
                <a:srgbClr val="0070C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2734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/XXHL4tgREueccKqLOXiEFAAAAAAADAAAAAAADAAAAAwADAAAAAAD///////8DAAEA////////BAAAAAMAEAALk9xclxhL1EmOrlRcyoxDt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/XXHL4tgREueccKqLOXiEDRGF0YQAbAAAABExpbmtlZFNoYXBlRGF0YQAFAAAAAAACTmFtZQAZAAAATGlua2VkU2hhcGVzRGF0YVByb3BlcnR5ABBWZXJzaW9uAAAAAAAJTGFzdFdyaXRlANUir7qQAQAAAAEA/////50AnQAAAAVfaWQAEAAAAAST3FyXGEvUSY6uVFzKjEO0A0RhdGEAKgAAAAhQcmVzZW50YXRpb25TY2FubmVkRm9yTGlua2VkU2hhcGVzAAEAAk5hbWUAJAAAAExpbmtlZFNoYXBlUHJlc2VudGF0aW9uU2V0dGluZ3NEYXRhABBWZXJzaW9uAAAAAAAJTGFzdFdyaXRlAGsjr7qQ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1</Words>
  <Application>Microsoft Office PowerPoint</Application>
  <PresentationFormat>Widescreen</PresentationFormat>
  <Paragraphs>32</Paragraphs>
  <Slides>8</Slides>
  <Notes>7</Notes>
  <HiddenSlides>0</HiddenSlides>
  <MMClips>3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masis MT Pro Light</vt:lpstr>
      <vt:lpstr>Arial</vt:lpstr>
      <vt:lpstr>Calibri</vt:lpstr>
      <vt:lpstr>Calibri Light</vt:lpstr>
      <vt:lpstr>Office Theme</vt:lpstr>
      <vt:lpstr>CoT-TL: Low Resource Temporal Knowledge Representation of Planning Instructions using Chain-Of-Thought Reasoning</vt:lpstr>
      <vt:lpstr>CoT-TL: Natural Language to LTL</vt:lpstr>
      <vt:lpstr>CoT-TL: Natural Language to Text</vt:lpstr>
      <vt:lpstr>CoT-TL: Natural Language Text to LTL</vt:lpstr>
      <vt:lpstr>CoT-TL: Natural Language Text to LTL</vt:lpstr>
      <vt:lpstr>Demo: Interpretable LTL &amp; Simulation </vt:lpstr>
      <vt:lpstr>PowerPoint Presentation</vt:lpstr>
      <vt:lpstr>Demo: Interpretable LTL &amp; Simula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as, Kumar</dc:creator>
  <cp:lastModifiedBy>Manas, Kumar</cp:lastModifiedBy>
  <cp:revision>6</cp:revision>
  <dcterms:created xsi:type="dcterms:W3CDTF">2023-09-21T20:37:03Z</dcterms:created>
  <dcterms:modified xsi:type="dcterms:W3CDTF">2025-02-14T14:0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Text">
    <vt:lpwstr>Public</vt:lpwstr>
  </property>
</Properties>
</file>